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15F4A1-5A3D-4638-873A-05F16B9E9028}" v="516" dt="2025-10-23T14:31:49.6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neus, Kjell (ext)" userId="8a133241-f96b-4e4b-a727-cb889c70cb80" providerId="ADAL" clId="{16CA5D9F-22C5-4D8F-A03C-E77A5216243B}"/>
    <pc:docChg chg="undo custSel mod addSld modSld modMainMaster">
      <pc:chgData name="Moneus, Kjell (ext)" userId="8a133241-f96b-4e4b-a727-cb889c70cb80" providerId="ADAL" clId="{16CA5D9F-22C5-4D8F-A03C-E77A5216243B}" dt="2025-10-23T14:31:49.609" v="1237"/>
      <pc:docMkLst>
        <pc:docMk/>
      </pc:docMkLst>
      <pc:sldChg chg="addSp delSp modSp new mod setBg">
        <pc:chgData name="Moneus, Kjell (ext)" userId="8a133241-f96b-4e4b-a727-cb889c70cb80" providerId="ADAL" clId="{16CA5D9F-22C5-4D8F-A03C-E77A5216243B}" dt="2025-10-23T14:31:49.609" v="1237"/>
        <pc:sldMkLst>
          <pc:docMk/>
          <pc:sldMk cId="1090644453" sldId="256"/>
        </pc:sldMkLst>
        <pc:spChg chg="del">
          <ac:chgData name="Moneus, Kjell (ext)" userId="8a133241-f96b-4e4b-a727-cb889c70cb80" providerId="ADAL" clId="{16CA5D9F-22C5-4D8F-A03C-E77A5216243B}" dt="2025-10-23T13:54:33.733" v="3" actId="478"/>
          <ac:spMkLst>
            <pc:docMk/>
            <pc:sldMk cId="1090644453" sldId="256"/>
            <ac:spMk id="2" creationId="{842718EE-0746-6FAC-052B-D4620E6DD196}"/>
          </ac:spMkLst>
        </pc:spChg>
        <pc:spChg chg="del">
          <ac:chgData name="Moneus, Kjell (ext)" userId="8a133241-f96b-4e4b-a727-cb889c70cb80" providerId="ADAL" clId="{16CA5D9F-22C5-4D8F-A03C-E77A5216243B}" dt="2025-10-23T13:54:32.651" v="2" actId="478"/>
          <ac:spMkLst>
            <pc:docMk/>
            <pc:sldMk cId="1090644453" sldId="256"/>
            <ac:spMk id="3" creationId="{6FFC6BCB-435B-7011-164A-E3C8730586C7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30" creationId="{7A5BD362-2565-4913-D835-953D1CAA7B94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31" creationId="{9AED52E8-2CBB-32A1-83D2-EA48F26141F9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51" creationId="{64B570DB-04DF-33FA-8956-D68DB39DB10F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52" creationId="{9C873A3C-8C8D-14B8-EE8D-DB7BABF551F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06"/>
          <ac:spMkLst>
            <pc:docMk/>
            <pc:sldMk cId="1090644453" sldId="256"/>
            <ac:spMk id="1027" creationId="{5296AD91-E492-D2EA-75BA-E611E5631D06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1" creationId="{B5A7D30B-C3D6-3E35-41DB-4043C860C34F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2" creationId="{DC7B7C9B-4E98-F2F4-A29E-24360D7C145B}"/>
          </ac:spMkLst>
        </pc:spChg>
        <pc:spChg chg="add mod ord">
          <ac:chgData name="Moneus, Kjell (ext)" userId="8a133241-f96b-4e4b-a727-cb889c70cb80" providerId="ADAL" clId="{16CA5D9F-22C5-4D8F-A03C-E77A5216243B}" dt="2025-10-23T14:31:49.577" v="1202"/>
          <ac:spMkLst>
            <pc:docMk/>
            <pc:sldMk cId="1090644453" sldId="256"/>
            <ac:spMk id="1033" creationId="{C6719DE1-88C1-EB45-EA4F-B21DD13AB756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4" creationId="{650FCAF8-3570-B7A2-8B36-D31DE30998E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5" creationId="{788457FF-7882-D3F9-7235-9F8290A118F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6" creationId="{1FE1D381-243F-C60A-9B88-19C4D184719B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41" creationId="{610EFAE5-E6AE-F8C7-C564-9773D660AA3E}"/>
          </ac:spMkLst>
        </pc:spChg>
        <pc:spChg chg="add mod ord">
          <ac:chgData name="Moneus, Kjell (ext)" userId="8a133241-f96b-4e4b-a727-cb889c70cb80" providerId="ADAL" clId="{16CA5D9F-22C5-4D8F-A03C-E77A5216243B}" dt="2025-10-23T14:31:49.577" v="1225"/>
          <ac:spMkLst>
            <pc:docMk/>
            <pc:sldMk cId="1090644453" sldId="256"/>
            <ac:spMk id="1051" creationId="{5CDCFF44-EE34-D89D-0103-7A9AD3BEDC70}"/>
          </ac:spMkLst>
        </pc:spChg>
        <pc:spChg chg="add mod">
          <ac:chgData name="Moneus, Kjell (ext)" userId="8a133241-f96b-4e4b-a727-cb889c70cb80" providerId="ADAL" clId="{16CA5D9F-22C5-4D8F-A03C-E77A5216243B}" dt="2025-10-23T14:31:49.577" v="1232" actId="207"/>
          <ac:spMkLst>
            <pc:docMk/>
            <pc:sldMk cId="1090644453" sldId="256"/>
            <ac:spMk id="1052" creationId="{3923A3D6-9CC5-FCDE-B22E-A64166E54312}"/>
          </ac:spMkLst>
        </pc:spChg>
        <pc:graphicFrameChg chg="add mod modVis">
          <ac:chgData name="Moneus, Kjell (ext)" userId="8a133241-f96b-4e4b-a727-cb889c70cb80" providerId="ADAL" clId="{16CA5D9F-22C5-4D8F-A03C-E77A5216243B}" dt="2025-10-23T14:31:49.609" v="1237"/>
          <ac:graphicFrameMkLst>
            <pc:docMk/>
            <pc:sldMk cId="1090644453" sldId="256"/>
            <ac:graphicFrameMk id="4" creationId="{1A44DD19-7349-0264-E8ED-41A7C3FB4DFF}"/>
          </ac:graphicFrameMkLst>
        </pc:graphicFrameChg>
        <pc:picChg chg="add del mod">
          <ac:chgData name="Moneus, Kjell (ext)" userId="8a133241-f96b-4e4b-a727-cb889c70cb80" providerId="ADAL" clId="{16CA5D9F-22C5-4D8F-A03C-E77A5216243B}" dt="2025-10-23T13:57:19.203" v="70"/>
          <ac:picMkLst>
            <pc:docMk/>
            <pc:sldMk cId="1090644453" sldId="256"/>
            <ac:picMk id="5" creationId="{847A84EC-CF7F-E36C-1485-04829829EF71}"/>
          </ac:picMkLst>
        </pc:picChg>
        <pc:picChg chg="add del mod ord">
          <ac:chgData name="Moneus, Kjell (ext)" userId="8a133241-f96b-4e4b-a727-cb889c70cb80" providerId="ADAL" clId="{16CA5D9F-22C5-4D8F-A03C-E77A5216243B}" dt="2025-10-23T13:57:39.820" v="159"/>
          <ac:picMkLst>
            <pc:docMk/>
            <pc:sldMk cId="1090644453" sldId="256"/>
            <ac:picMk id="6" creationId="{9788AF64-1B3D-6BB6-C8DC-C39E41280AF2}"/>
          </ac:picMkLst>
        </pc:picChg>
        <pc:picChg chg="add del mod">
          <ac:chgData name="Moneus, Kjell (ext)" userId="8a133241-f96b-4e4b-a727-cb889c70cb80" providerId="ADAL" clId="{16CA5D9F-22C5-4D8F-A03C-E77A5216243B}" dt="2025-10-23T13:57:32.451" v="118"/>
          <ac:picMkLst>
            <pc:docMk/>
            <pc:sldMk cId="1090644453" sldId="256"/>
            <ac:picMk id="7" creationId="{AEB70EB5-0950-6370-A56A-E148AA777BB5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2"/>
          <ac:picMkLst>
            <pc:docMk/>
            <pc:sldMk cId="1090644453" sldId="256"/>
            <ac:picMk id="8" creationId="{1CE05CC6-3281-2B85-593A-2D1997C205B2}"/>
          </ac:picMkLst>
        </pc:picChg>
        <pc:picChg chg="add del mod">
          <ac:chgData name="Moneus, Kjell (ext)" userId="8a133241-f96b-4e4b-a727-cb889c70cb80" providerId="ADAL" clId="{16CA5D9F-22C5-4D8F-A03C-E77A5216243B}" dt="2025-10-23T13:58:21.542" v="188"/>
          <ac:picMkLst>
            <pc:docMk/>
            <pc:sldMk cId="1090644453" sldId="256"/>
            <ac:picMk id="9" creationId="{A28EF3E4-7258-228D-505F-C1115B5C0353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1"/>
          <ac:picMkLst>
            <pc:docMk/>
            <pc:sldMk cId="1090644453" sldId="256"/>
            <ac:picMk id="10" creationId="{F2AD5E6A-DC33-759F-3A60-5E16FD98B1BF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0"/>
          <ac:picMkLst>
            <pc:docMk/>
            <pc:sldMk cId="1090644453" sldId="256"/>
            <ac:picMk id="11" creationId="{2AEA944F-270A-BE6D-323A-7C5EEDC6CC0E}"/>
          </ac:picMkLst>
        </pc:picChg>
        <pc:picChg chg="add del mod ord">
          <ac:chgData name="Moneus, Kjell (ext)" userId="8a133241-f96b-4e4b-a727-cb889c70cb80" providerId="ADAL" clId="{16CA5D9F-22C5-4D8F-A03C-E77A5216243B}" dt="2025-10-23T14:14:58.506" v="733"/>
          <ac:picMkLst>
            <pc:docMk/>
            <pc:sldMk cId="1090644453" sldId="256"/>
            <ac:picMk id="12" creationId="{63709DBA-5A09-2DD1-8CBF-68200150BCBE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19"/>
          <ac:picMkLst>
            <pc:docMk/>
            <pc:sldMk cId="1090644453" sldId="256"/>
            <ac:picMk id="13" creationId="{F602402E-133A-A5AD-26B4-A21548A96F74}"/>
          </ac:picMkLst>
        </pc:picChg>
        <pc:picChg chg="add mod">
          <ac:chgData name="Moneus, Kjell (ext)" userId="8a133241-f96b-4e4b-a727-cb889c70cb80" providerId="ADAL" clId="{16CA5D9F-22C5-4D8F-A03C-E77A5216243B}" dt="2025-10-23T14:31:46.272" v="1147"/>
          <ac:picMkLst>
            <pc:docMk/>
            <pc:sldMk cId="1090644453" sldId="256"/>
            <ac:picMk id="14" creationId="{BB293EBB-20AA-5052-E5E5-63D15022AF14}"/>
          </ac:picMkLst>
        </pc:picChg>
        <pc:picChg chg="add mod">
          <ac:chgData name="Moneus, Kjell (ext)" userId="8a133241-f96b-4e4b-a727-cb889c70cb80" providerId="ADAL" clId="{16CA5D9F-22C5-4D8F-A03C-E77A5216243B}" dt="2025-10-23T14:31:46.272" v="1148"/>
          <ac:picMkLst>
            <pc:docMk/>
            <pc:sldMk cId="1090644453" sldId="256"/>
            <ac:picMk id="15" creationId="{72AA2EF4-9524-FCF2-DA44-62362F627906}"/>
          </ac:picMkLst>
        </pc:picChg>
        <pc:picChg chg="add del mod">
          <ac:chgData name="Moneus, Kjell (ext)" userId="8a133241-f96b-4e4b-a727-cb889c70cb80" providerId="ADAL" clId="{16CA5D9F-22C5-4D8F-A03C-E77A5216243B}" dt="2025-10-23T14:08:20.688" v="499"/>
          <ac:picMkLst>
            <pc:docMk/>
            <pc:sldMk cId="1090644453" sldId="256"/>
            <ac:picMk id="42" creationId="{BF1E23B0-A92C-BD59-FCF3-782E5FEEA911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34" actId="1076"/>
          <ac:picMkLst>
            <pc:docMk/>
            <pc:sldMk cId="1090644453" sldId="256"/>
            <ac:picMk id="43" creationId="{C166B4BD-473F-53DD-8533-4D33D246777C}"/>
          </ac:picMkLst>
        </pc:picChg>
        <pc:picChg chg="add mod">
          <ac:chgData name="Moneus, Kjell (ext)" userId="8a133241-f96b-4e4b-a727-cb889c70cb80" providerId="ADAL" clId="{16CA5D9F-22C5-4D8F-A03C-E77A5216243B}" dt="2025-10-23T14:31:46.272" v="1146"/>
          <ac:picMkLst>
            <pc:docMk/>
            <pc:sldMk cId="1090644453" sldId="256"/>
            <ac:picMk id="1026" creationId="{08C88BCD-B975-BD0B-7B7F-4753FDB65AA1}"/>
          </ac:picMkLst>
        </pc:picChg>
        <pc:cxnChg chg="add mod ord">
          <ac:chgData name="Moneus, Kjell (ext)" userId="8a133241-f96b-4e4b-a727-cb889c70cb80" providerId="ADAL" clId="{16CA5D9F-22C5-4D8F-A03C-E77A5216243B}" dt="2025-10-23T14:31:49.577" v="1218"/>
          <ac:cxnSpMkLst>
            <pc:docMk/>
            <pc:sldMk cId="1090644453" sldId="256"/>
            <ac:cxnSpMk id="17" creationId="{B2A2180F-1C3C-6781-E0C8-A2BE47161A31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7"/>
          <ac:cxnSpMkLst>
            <pc:docMk/>
            <pc:sldMk cId="1090644453" sldId="256"/>
            <ac:cxnSpMk id="22" creationId="{E1B97449-26CA-926E-5398-18D6455F6CD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6"/>
          <ac:cxnSpMkLst>
            <pc:docMk/>
            <pc:sldMk cId="1090644453" sldId="256"/>
            <ac:cxnSpMk id="23" creationId="{18C38CFF-C733-827F-95C1-D40DD0AD65CD}"/>
          </ac:cxnSpMkLst>
        </pc:cxnChg>
        <pc:cxnChg chg="add del mod">
          <ac:chgData name="Moneus, Kjell (ext)" userId="8a133241-f96b-4e4b-a727-cb889c70cb80" providerId="ADAL" clId="{16CA5D9F-22C5-4D8F-A03C-E77A5216243B}" dt="2025-10-23T14:05:20.724" v="410" actId="478"/>
          <ac:cxnSpMkLst>
            <pc:docMk/>
            <pc:sldMk cId="1090644453" sldId="256"/>
            <ac:cxnSpMk id="24" creationId="{B525D144-38A7-E0D6-6098-E812E057B45C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3"/>
          <ac:cxnSpMkLst>
            <pc:docMk/>
            <pc:sldMk cId="1090644453" sldId="256"/>
            <ac:cxnSpMk id="32" creationId="{C9DAAD28-81C4-C067-4586-C55E89EB948D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2"/>
          <ac:cxnSpMkLst>
            <pc:docMk/>
            <pc:sldMk cId="1090644453" sldId="256"/>
            <ac:cxnSpMk id="36" creationId="{AD392B5C-B622-5057-7D51-9AB185222F10}"/>
          </ac:cxnSpMkLst>
        </pc:cxnChg>
        <pc:cxnChg chg="add del mod ord">
          <ac:chgData name="Moneus, Kjell (ext)" userId="8a133241-f96b-4e4b-a727-cb889c70cb80" providerId="ADAL" clId="{16CA5D9F-22C5-4D8F-A03C-E77A5216243B}" dt="2025-10-23T14:15:00.920" v="736" actId="478"/>
          <ac:cxnSpMkLst>
            <pc:docMk/>
            <pc:sldMk cId="1090644453" sldId="256"/>
            <ac:cxnSpMk id="39" creationId="{D95ED8C1-C5A8-A36C-DCC0-BD08EAD4E072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34" actId="1076"/>
          <ac:cxnSpMkLst>
            <pc:docMk/>
            <pc:sldMk cId="1090644453" sldId="256"/>
            <ac:cxnSpMk id="44" creationId="{940ACD3B-10B3-52E3-4FDA-D31116AB0D6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34" actId="1076"/>
          <ac:cxnSpMkLst>
            <pc:docMk/>
            <pc:sldMk cId="1090644453" sldId="256"/>
            <ac:cxnSpMk id="45" creationId="{1E80931A-6410-9F11-3EA0-6CC45EFABB27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8"/>
          <ac:cxnSpMkLst>
            <pc:docMk/>
            <pc:sldMk cId="1090644453" sldId="256"/>
            <ac:cxnSpMk id="60" creationId="{B91267F1-34DB-EFAA-9984-76DF8FFFB1EF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7"/>
          <ac:cxnSpMkLst>
            <pc:docMk/>
            <pc:sldMk cId="1090644453" sldId="256"/>
            <ac:cxnSpMk id="63" creationId="{61EF5570-6608-61E7-8950-6961E225175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5"/>
          <ac:cxnSpMkLst>
            <pc:docMk/>
            <pc:sldMk cId="1090644453" sldId="256"/>
            <ac:cxnSpMk id="1028" creationId="{9C1C153E-E8B1-E7D0-B4F2-AAFAF94F78BF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197"/>
          <ac:cxnSpMkLst>
            <pc:docMk/>
            <pc:sldMk cId="1090644453" sldId="256"/>
            <ac:cxnSpMk id="1044" creationId="{C27D548D-A833-61EB-7730-FCC4295D1DC9}"/>
          </ac:cxnSpMkLst>
        </pc:cxnChg>
      </pc:sldChg>
      <pc:sldMasterChg chg="addSp delSp modSp mod">
        <pc:chgData name="Moneus, Kjell (ext)" userId="8a133241-f96b-4e4b-a727-cb889c70cb80" providerId="ADAL" clId="{16CA5D9F-22C5-4D8F-A03C-E77A5216243B}" dt="2025-10-23T13:54:34.339" v="51"/>
        <pc:sldMasterMkLst>
          <pc:docMk/>
          <pc:sldMasterMk cId="3265997071" sldId="2147483648"/>
        </pc:sldMasterMkLst>
        <pc:spChg chg="mod">
          <ac:chgData name="Moneus, Kjell (ext)" userId="8a133241-f96b-4e4b-a727-cb889c70cb80" providerId="ADAL" clId="{16CA5D9F-22C5-4D8F-A03C-E77A5216243B}" dt="2025-10-23T13:54:34.244" v="4" actId="948"/>
          <ac:spMkLst>
            <pc:docMk/>
            <pc:sldMasterMk cId="3265997071" sldId="2147483648"/>
            <ac:spMk id="2" creationId="{51FC4E38-C1E0-4A2F-9787-F449D741A7ED}"/>
          </ac:spMkLst>
        </pc:spChg>
        <pc:spChg chg="add del mod modVis">
          <ac:chgData name="Moneus, Kjell (ext)" userId="8a133241-f96b-4e4b-a727-cb889c70cb80" providerId="ADAL" clId="{16CA5D9F-22C5-4D8F-A03C-E77A5216243B}" dt="2025-10-23T13:54:34.315" v="37"/>
          <ac:spMkLst>
            <pc:docMk/>
            <pc:sldMasterMk cId="3265997071" sldId="2147483648"/>
            <ac:spMk id="7" creationId="{37111DCF-AF97-3ED7-C62B-719694A41D06}"/>
          </ac:spMkLst>
        </pc:spChg>
        <pc:graphicFrameChg chg="add mod ord modVis">
          <ac:chgData name="Moneus, Kjell (ext)" userId="8a133241-f96b-4e4b-a727-cb889c70cb80" providerId="ADAL" clId="{16CA5D9F-22C5-4D8F-A03C-E77A5216243B}" dt="2025-10-23T13:54:34.339" v="51"/>
          <ac:graphicFrameMkLst>
            <pc:docMk/>
            <pc:sldMasterMk cId="3265997071" sldId="2147483648"/>
            <ac:graphicFrameMk id="8" creationId="{BC6BF0E1-4F18-9989-A542-919C524AABD2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53CA6A-42CA-1BFD-B85A-AA295F21C7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5D74B9-71F7-CDEE-0820-BB183AAEE8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C736A3-85A2-4E6E-FD57-A87F3B2C7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1977AC-5BB4-22BA-F6DC-E3CB2B5FE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7E515-81A0-BFA7-D696-781CABBDC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402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0ECFE0-F4B2-E6DE-F93D-7E10A0C56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88BC52-CC51-D57B-B9C7-058B54AD55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A6A96-6B1F-112D-3588-F6A193C1F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707F35-26E1-A5F9-4E7D-3F2A7A0E4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DA53B7-AAE6-A5D8-16D2-BC0020173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161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0DB13CF-EDA6-3EAC-2BCB-8B8340B2B4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86D812-559E-BAD5-E0D1-100CFA26C7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22F7AE-E172-F175-701C-89BDB7C1F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EF1FE9-CB3F-5BD6-5DDD-436870EE2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F818D8-BD59-7A60-8FA6-A4E99D252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211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F5A69B-A027-6902-E101-456260933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4D02A0-4DAF-0DEE-A941-4F442AEDC3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283691-4CDA-5D9F-1959-E4432FC24D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5B99DB-17B8-5565-FCC4-609DE5C46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946335-A917-A809-10D1-88344157C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067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2A24F-6262-D563-1712-03F627FD2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FD8E86-706B-EE03-0443-8D34A8B174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7967A-A300-090F-687E-92BB5AF72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20E3D2-955F-9A57-5EFB-A6254C02C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A76BE6-AA6E-9CD8-7829-84B12EFD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327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CD8E8-2C69-425E-0A67-394E8E647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783795-3620-8020-E9E4-540034277D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B6433C-FB6E-63E7-3C32-A87E77CE70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B2C925-DB04-E463-73FA-23EFEE34D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3281B0-4B79-D780-1269-9C645FF41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222C7D-8071-F817-E199-8967A6C60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262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BC5DB-3845-1F5F-58FC-49C82447E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F69AB6-12F5-B78C-327B-3D4A33033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637A6D-7C79-F6B1-0097-B4A4256514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D4C221-FD69-0EAF-0D07-513660C841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E1003F-56F8-57F1-EE33-6EA5DE1461C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C497AA-A89C-13ED-F704-EC51A2642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CFE82A-C4A8-1F36-7D36-10DBE3ED6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37194F9-56DC-668E-E948-285DA6331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6377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368D7-C19B-7158-9750-67C884327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2E54A9-58AE-CFED-0F1A-3DA7E3B70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87DFBC-0C71-8007-2661-3A874C0DC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E95EDF-7D2C-C67E-4578-12A358F18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5910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91D6AD-196C-9C07-69FC-7CB6056CA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8384B5-F03A-B8D6-2A7A-FE0C754A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FE70C3-E4C0-9EE3-2724-40F51DBF6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085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FF2D8-B852-4851-C53A-0C2D09C69A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ED805-4381-1041-AA68-3D69E419DF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336EED-EF1A-B1C6-49CD-52585EDCE3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3E13ED-0F5D-0B3A-0B85-B2A7E68F9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04B351-D48E-1385-FFBA-7248D4A99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EDD294-4A2A-5A03-DCBF-A7B2EE5E3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550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6588A-3E9E-20F7-C9C2-8D86D52B2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E8F8F74-27E5-5E21-1DD1-483DF2C886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F99BB3-77B7-C5A1-1164-8C37F92AA9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304A57-8838-0327-8793-D03357A8E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F08246-A636-CDC6-7EC0-EA70ADB8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91E3E-2126-C371-A62D-A7D2658CE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156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6BF0E1-4F18-9989-A542-919C524AAB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51443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24" imgH="623" progId="TCLayout.ActiveDocument.1">
                  <p:embed/>
                </p:oleObj>
              </mc:Choice>
              <mc:Fallback>
                <p:oleObj name="think-cell Slide" r:id="rId14" imgW="624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6BF0E1-4F18-9989-A542-919C524A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FC4E38-C1E0-4A2F-9787-F449D741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4372DD-2A38-F96B-74E0-7A8A07CB32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E5B9F1-B299-DAC5-A4E8-EAE9BB93E4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CC5641-7696-48DB-BBDF-BF074CC61C6D}" type="datetimeFigureOut">
              <a:rPr lang="en-US" smtClean="0"/>
              <a:t>10/2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162990-93B0-910E-646B-E469163D8A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3991D-7681-7D67-B28D-5113A54871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99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3.svg"/><Relationship Id="rId3" Type="http://schemas.openxmlformats.org/officeDocument/2006/relationships/tags" Target="../tags/tag4.xml"/><Relationship Id="rId21" Type="http://schemas.openxmlformats.org/officeDocument/2006/relationships/image" Target="../media/image6.jpe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2.png"/><Relationship Id="rId2" Type="http://schemas.openxmlformats.org/officeDocument/2006/relationships/tags" Target="../tags/tag3.xml"/><Relationship Id="rId16" Type="http://schemas.openxmlformats.org/officeDocument/2006/relationships/image" Target="../media/image1.emf"/><Relationship Id="rId20" Type="http://schemas.openxmlformats.org/officeDocument/2006/relationships/image" Target="../media/image5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oleObject" Target="../embeddings/oleObject2.bin"/><Relationship Id="rId23" Type="http://schemas.openxmlformats.org/officeDocument/2006/relationships/image" Target="../media/image8.svg"/><Relationship Id="rId10" Type="http://schemas.openxmlformats.org/officeDocument/2006/relationships/tags" Target="../tags/tag11.xml"/><Relationship Id="rId19" Type="http://schemas.openxmlformats.org/officeDocument/2006/relationships/image" Target="../media/image4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44DD19-7349-0264-E8ED-41A7C3FB4D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280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4" imgH="623" progId="TCLayout.ActiveDocument.1">
                  <p:embed/>
                </p:oleObj>
              </mc:Choice>
              <mc:Fallback>
                <p:oleObj name="think-cell Slide" r:id="rId15" imgW="624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44DD19-7349-0264-E8ED-41A7C3FB4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1" name="Cloud 1050">
            <a:extLst>
              <a:ext uri="{FF2B5EF4-FFF2-40B4-BE49-F238E27FC236}">
                <a16:creationId xmlns:a16="http://schemas.microsoft.com/office/drawing/2014/main" id="{5CDCFF44-EE34-D89D-0103-7A9AD3BEDC7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63305" y="4572321"/>
            <a:ext cx="1705301" cy="1011673"/>
          </a:xfrm>
          <a:prstGeom prst="cloud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4B570DB-04DF-33FA-8956-D68DB39DB10F}"/>
              </a:ext>
            </a:extLst>
          </p:cNvPr>
          <p:cNvSpPr/>
          <p:nvPr/>
        </p:nvSpPr>
        <p:spPr>
          <a:xfrm>
            <a:off x="6307138" y="1126156"/>
            <a:ext cx="3781425" cy="5515945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C873A3C-8C8D-14B8-EE8D-DB7BABF551F8}"/>
              </a:ext>
            </a:extLst>
          </p:cNvPr>
          <p:cNvSpPr/>
          <p:nvPr/>
        </p:nvSpPr>
        <p:spPr>
          <a:xfrm>
            <a:off x="189582" y="1126156"/>
            <a:ext cx="3781509" cy="5515944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">
            <a:extLst>
              <a:ext uri="{FF2B5EF4-FFF2-40B4-BE49-F238E27FC236}">
                <a16:creationId xmlns:a16="http://schemas.microsoft.com/office/drawing/2014/main" id="{1CE05CC6-3281-2B85-593A-2D1997C205B2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2033588" y="1581150"/>
            <a:ext cx="784225" cy="784225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0" name="Pic">
            <a:extLst>
              <a:ext uri="{FF2B5EF4-FFF2-40B4-BE49-F238E27FC236}">
                <a16:creationId xmlns:a16="http://schemas.microsoft.com/office/drawing/2014/main" id="{F2AD5E6A-DC33-759F-3A60-5E16FD98B1BF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4470400" y="160337"/>
            <a:ext cx="1306513" cy="87153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">
            <a:extLst>
              <a:ext uri="{FF2B5EF4-FFF2-40B4-BE49-F238E27FC236}">
                <a16:creationId xmlns:a16="http://schemas.microsoft.com/office/drawing/2014/main" id="{2AEA944F-270A-BE6D-323A-7C5EEDC6CC0E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7702550" y="1581150"/>
            <a:ext cx="784225" cy="784225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3" name="Pic">
            <a:extLst>
              <a:ext uri="{FF2B5EF4-FFF2-40B4-BE49-F238E27FC236}">
                <a16:creationId xmlns:a16="http://schemas.microsoft.com/office/drawing/2014/main" id="{F602402E-133A-A5AD-26B4-A21548A96F74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2033588" y="4087813"/>
            <a:ext cx="784225" cy="78263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026" name="Picture 2" descr="Home Assistant">
            <a:extLst>
              <a:ext uri="{FF2B5EF4-FFF2-40B4-BE49-F238E27FC236}">
                <a16:creationId xmlns:a16="http://schemas.microsoft.com/office/drawing/2014/main" id="{08C88BCD-B975-BD0B-7B7F-4753FDB65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859" y="2789906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Home Assistant">
            <a:extLst>
              <a:ext uri="{FF2B5EF4-FFF2-40B4-BE49-F238E27FC236}">
                <a16:creationId xmlns:a16="http://schemas.microsoft.com/office/drawing/2014/main" id="{BB293EBB-20AA-5052-E5E5-63D15022AF14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859" y="5546725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ome Assistant">
            <a:extLst>
              <a:ext uri="{FF2B5EF4-FFF2-40B4-BE49-F238E27FC236}">
                <a16:creationId xmlns:a16="http://schemas.microsoft.com/office/drawing/2014/main" id="{72AA2EF4-9524-FCF2-DA44-62362F627906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28" y="5546725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B2A2180F-1C3C-6781-E0C8-A2BE47161A31}"/>
              </a:ext>
            </a:extLst>
          </p:cNvPr>
          <p:cNvCxnSpPr>
            <a:cxnSpLocks/>
            <a:stCxn id="8" idx="2"/>
            <a:endCxn id="1026" idx="0"/>
          </p:cNvCxnSpPr>
          <p:nvPr/>
        </p:nvCxnSpPr>
        <p:spPr>
          <a:xfrm rot="16200000" flipH="1">
            <a:off x="2627590" y="2163486"/>
            <a:ext cx="424531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E1B97449-26CA-926E-5398-18D6455F6CD8}"/>
              </a:ext>
            </a:extLst>
          </p:cNvPr>
          <p:cNvCxnSpPr>
            <a:cxnSpLocks/>
            <a:stCxn id="1026" idx="2"/>
            <a:endCxn id="13" idx="0"/>
          </p:cNvCxnSpPr>
          <p:nvPr/>
        </p:nvCxnSpPr>
        <p:spPr>
          <a:xfrm rot="5400000">
            <a:off x="2629052" y="3462855"/>
            <a:ext cx="421607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18C38CFF-C733-827F-95C1-D40DD0AD65CD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 rot="16200000" flipH="1">
            <a:off x="2501718" y="4794434"/>
            <a:ext cx="676274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0" name="Cloud 29">
            <a:extLst>
              <a:ext uri="{FF2B5EF4-FFF2-40B4-BE49-F238E27FC236}">
                <a16:creationId xmlns:a16="http://schemas.microsoft.com/office/drawing/2014/main" id="{7A5BD362-2565-4913-D835-953D1CAA7B9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85341" y="5477957"/>
            <a:ext cx="1944304" cy="1011673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tter</a:t>
            </a:r>
            <a:br>
              <a:rPr lang="en-US" dirty="0"/>
            </a:br>
            <a:r>
              <a:rPr lang="en-US" dirty="0"/>
              <a:t>Zigbee</a:t>
            </a:r>
          </a:p>
        </p:txBody>
      </p:sp>
      <p:sp>
        <p:nvSpPr>
          <p:cNvPr id="31" name="Cloud 30">
            <a:extLst>
              <a:ext uri="{FF2B5EF4-FFF2-40B4-BE49-F238E27FC236}">
                <a16:creationId xmlns:a16="http://schemas.microsoft.com/office/drawing/2014/main" id="{9AED52E8-2CBB-32A1-83D2-EA48F26141F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032750" y="5477957"/>
            <a:ext cx="1944688" cy="1011673"/>
          </a:xfrm>
          <a:prstGeom prst="cloud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Zigbe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C9DAAD28-81C4-C067-4586-C55E89EB948D}"/>
              </a:ext>
            </a:extLst>
          </p:cNvPr>
          <p:cNvCxnSpPr>
            <a:cxnSpLocks/>
            <a:stCxn id="8" idx="0"/>
            <a:endCxn id="10" idx="2"/>
          </p:cNvCxnSpPr>
          <p:nvPr/>
        </p:nvCxnSpPr>
        <p:spPr>
          <a:xfrm rot="5400000" flipH="1" flipV="1">
            <a:off x="3500042" y="-42465"/>
            <a:ext cx="549275" cy="2697956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AD392B5C-B622-5057-7D51-9AB185222F10}"/>
              </a:ext>
            </a:extLst>
          </p:cNvPr>
          <p:cNvCxnSpPr>
            <a:cxnSpLocks/>
            <a:stCxn id="11" idx="0"/>
            <a:endCxn id="10" idx="2"/>
          </p:cNvCxnSpPr>
          <p:nvPr/>
        </p:nvCxnSpPr>
        <p:spPr>
          <a:xfrm rot="16200000" flipV="1">
            <a:off x="6334523" y="-178990"/>
            <a:ext cx="549275" cy="2971006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43" name="Pic">
            <a:extLst>
              <a:ext uri="{FF2B5EF4-FFF2-40B4-BE49-F238E27FC236}">
                <a16:creationId xmlns:a16="http://schemas.microsoft.com/office/drawing/2014/main" id="{C166B4BD-473F-53DD-8533-4D33D246777C}"/>
              </a:ext>
            </a:extLst>
          </p:cNvPr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4481513" y="4464050"/>
            <a:ext cx="1292225" cy="1293813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940ACD3B-10B3-52E3-4FDA-D31116AB0D68}"/>
              </a:ext>
            </a:extLst>
          </p:cNvPr>
          <p:cNvCxnSpPr>
            <a:cxnSpLocks/>
            <a:stCxn id="15" idx="1"/>
            <a:endCxn id="43" idx="3"/>
          </p:cNvCxnSpPr>
          <p:nvPr/>
        </p:nvCxnSpPr>
        <p:spPr>
          <a:xfrm rot="10800000">
            <a:off x="5773738" y="5110957"/>
            <a:ext cx="788790" cy="87391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1E80931A-6410-9F11-3EA0-6CC45EFABB27}"/>
              </a:ext>
            </a:extLst>
          </p:cNvPr>
          <p:cNvCxnSpPr>
            <a:cxnSpLocks/>
            <a:stCxn id="43" idx="1"/>
            <a:endCxn id="14" idx="3"/>
          </p:cNvCxnSpPr>
          <p:nvPr/>
        </p:nvCxnSpPr>
        <p:spPr>
          <a:xfrm rot="10800000" flipV="1">
            <a:off x="3692159" y="5110957"/>
            <a:ext cx="789354" cy="87391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B91267F1-34DB-EFAA-9984-76DF8FFFB1EF}"/>
              </a:ext>
            </a:extLst>
          </p:cNvPr>
          <p:cNvCxnSpPr>
            <a:cxnSpLocks/>
            <a:stCxn id="31" idx="2"/>
            <a:endCxn id="15" idx="3"/>
          </p:cNvCxnSpPr>
          <p:nvPr/>
        </p:nvCxnSpPr>
        <p:spPr>
          <a:xfrm rot="10800000" flipV="1">
            <a:off x="7438828" y="5983793"/>
            <a:ext cx="599954" cy="108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61EF5570-6608-61E7-8950-6961E2251758}"/>
              </a:ext>
            </a:extLst>
          </p:cNvPr>
          <p:cNvCxnSpPr>
            <a:cxnSpLocks/>
            <a:stCxn id="14" idx="1"/>
            <a:endCxn id="30" idx="0"/>
          </p:cNvCxnSpPr>
          <p:nvPr/>
        </p:nvCxnSpPr>
        <p:spPr>
          <a:xfrm rot="10800000">
            <a:off x="2228025" y="5983795"/>
            <a:ext cx="587834" cy="108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27" name="Cloud 1026">
            <a:extLst>
              <a:ext uri="{FF2B5EF4-FFF2-40B4-BE49-F238E27FC236}">
                <a16:creationId xmlns:a16="http://schemas.microsoft.com/office/drawing/2014/main" id="{5296AD91-E492-D2EA-75BA-E611E5631D0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08833" y="4061084"/>
            <a:ext cx="1583238" cy="836094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N</a:t>
            </a:r>
          </a:p>
        </p:txBody>
      </p:sp>
      <p:cxnSp>
        <p:nvCxnSpPr>
          <p:cNvPr id="1028" name="Connector: Elbow 1027">
            <a:extLst>
              <a:ext uri="{FF2B5EF4-FFF2-40B4-BE49-F238E27FC236}">
                <a16:creationId xmlns:a16="http://schemas.microsoft.com/office/drawing/2014/main" id="{9C1C153E-E8B1-E7D0-B4F2-AAFAF94F78BF}"/>
              </a:ext>
            </a:extLst>
          </p:cNvPr>
          <p:cNvCxnSpPr>
            <a:cxnSpLocks/>
            <a:stCxn id="13" idx="1"/>
            <a:endCxn id="1027" idx="0"/>
          </p:cNvCxnSpPr>
          <p:nvPr/>
        </p:nvCxnSpPr>
        <p:spPr>
          <a:xfrm rot="10800000">
            <a:off x="1790752" y="4479132"/>
            <a:ext cx="242836" cy="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31" name="TextBox 1030">
            <a:extLst>
              <a:ext uri="{FF2B5EF4-FFF2-40B4-BE49-F238E27FC236}">
                <a16:creationId xmlns:a16="http://schemas.microsoft.com/office/drawing/2014/main" id="{B5A7D30B-C3D6-3E35-41DB-4043C860C34F}"/>
              </a:ext>
            </a:extLst>
          </p:cNvPr>
          <p:cNvSpPr txBox="1"/>
          <p:nvPr/>
        </p:nvSpPr>
        <p:spPr>
          <a:xfrm>
            <a:off x="2471705" y="4939659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TLS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DC7B7C9B-4E98-F2F4-A29E-24360D7C145B}"/>
              </a:ext>
            </a:extLst>
          </p:cNvPr>
          <p:cNvSpPr txBox="1"/>
          <p:nvPr/>
        </p:nvSpPr>
        <p:spPr>
          <a:xfrm>
            <a:off x="2471706" y="3875756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TLS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C6719DE1-88C1-EB45-EA4F-B21DD13AB756}"/>
              </a:ext>
            </a:extLst>
          </p:cNvPr>
          <p:cNvSpPr txBox="1"/>
          <p:nvPr/>
        </p:nvSpPr>
        <p:spPr>
          <a:xfrm>
            <a:off x="4535120" y="4731951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TLS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650FCAF8-3570-B7A2-8B36-D31DE30998E8}"/>
              </a:ext>
            </a:extLst>
          </p:cNvPr>
          <p:cNvSpPr txBox="1"/>
          <p:nvPr/>
        </p:nvSpPr>
        <p:spPr>
          <a:xfrm>
            <a:off x="2425700" y="2308724"/>
            <a:ext cx="10876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HTTPS tunnel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788457FF-7882-D3F9-7235-9F8290A118F8}"/>
              </a:ext>
            </a:extLst>
          </p:cNvPr>
          <p:cNvSpPr txBox="1"/>
          <p:nvPr/>
        </p:nvSpPr>
        <p:spPr>
          <a:xfrm>
            <a:off x="1065813" y="603146"/>
            <a:ext cx="1935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FF00"/>
                </a:solidFill>
              </a:rPr>
              <a:t>Network @ Home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1FE1D381-243F-C60A-9B88-19C4D184719B}"/>
              </a:ext>
            </a:extLst>
          </p:cNvPr>
          <p:cNvSpPr txBox="1"/>
          <p:nvPr/>
        </p:nvSpPr>
        <p:spPr>
          <a:xfrm>
            <a:off x="7145339" y="548505"/>
            <a:ext cx="21050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FF00"/>
                </a:solidFill>
              </a:rPr>
              <a:t>Network @ Ski Cabin</a:t>
            </a:r>
          </a:p>
        </p:txBody>
      </p:sp>
      <p:sp>
        <p:nvSpPr>
          <p:cNvPr id="1041" name="Cloud 1040">
            <a:extLst>
              <a:ext uri="{FF2B5EF4-FFF2-40B4-BE49-F238E27FC236}">
                <a16:creationId xmlns:a16="http://schemas.microsoft.com/office/drawing/2014/main" id="{610EFAE5-E6AE-F8C7-C564-9773D660AA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265755" y="3048034"/>
            <a:ext cx="1657814" cy="836094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AN</a:t>
            </a:r>
          </a:p>
        </p:txBody>
      </p:sp>
      <p:cxnSp>
        <p:nvCxnSpPr>
          <p:cNvPr id="1044" name="Connector: Elbow 1043">
            <a:extLst>
              <a:ext uri="{FF2B5EF4-FFF2-40B4-BE49-F238E27FC236}">
                <a16:creationId xmlns:a16="http://schemas.microsoft.com/office/drawing/2014/main" id="{C27D548D-A833-61EB-7730-FCC4295D1DC9}"/>
              </a:ext>
            </a:extLst>
          </p:cNvPr>
          <p:cNvCxnSpPr>
            <a:cxnSpLocks/>
            <a:stCxn id="1041" idx="3"/>
            <a:endCxn id="11" idx="2"/>
          </p:cNvCxnSpPr>
          <p:nvPr/>
        </p:nvCxnSpPr>
        <p:spPr>
          <a:xfrm rot="5400000" flipH="1" flipV="1">
            <a:off x="7729431" y="2730607"/>
            <a:ext cx="730463" cy="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C965F22-8FBC-3EA9-6252-A6CC3CB9217E}"/>
              </a:ext>
            </a:extLst>
          </p:cNvPr>
          <p:cNvCxnSpPr>
            <a:cxnSpLocks/>
          </p:cNvCxnSpPr>
          <p:nvPr/>
        </p:nvCxnSpPr>
        <p:spPr>
          <a:xfrm>
            <a:off x="2235059" y="2365374"/>
            <a:ext cx="0" cy="172243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9717898-11C0-2040-C913-7061B73EE88D}"/>
              </a:ext>
            </a:extLst>
          </p:cNvPr>
          <p:cNvSpPr txBox="1"/>
          <p:nvPr/>
        </p:nvSpPr>
        <p:spPr>
          <a:xfrm>
            <a:off x="640399" y="3038656"/>
            <a:ext cx="1698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Other network traffic</a:t>
            </a:r>
          </a:p>
        </p:txBody>
      </p:sp>
    </p:spTree>
    <p:extLst>
      <p:ext uri="{BB962C8B-B14F-4D97-AF65-F5344CB8AC3E}">
        <p14:creationId xmlns:p14="http://schemas.microsoft.com/office/powerpoint/2010/main" val="1090644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nSO3WUTyCoZHb_yT8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jomtVwFFCPFz3tmW5N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KRRhEVCxj1YrdyqzXC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cXJS2uQbtNXNXQRKut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cXJS2uQbtNXNXQRKut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jomtVwFFCPFz3tmW5N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5rFrTr.p1ov2yqf6A6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pWWAgEjAit6.Lx8pFj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xzgVdOVyC3HpZiZ76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4cfMADNMO7wXvvaKR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5NGDU92N3cy0I3wkEZ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UGC4NR_lev8ZPuGdip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27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neus, Kjell (ext)</dc:creator>
  <cp:lastModifiedBy>Moneus, Kjell (ext)</cp:lastModifiedBy>
  <cp:revision>3</cp:revision>
  <dcterms:created xsi:type="dcterms:W3CDTF">2025-10-23T13:51:24Z</dcterms:created>
  <dcterms:modified xsi:type="dcterms:W3CDTF">2025-10-27T10:4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6791f77-3d39-4d72-9277-ac879ec799ed_Enabled">
    <vt:lpwstr>true</vt:lpwstr>
  </property>
  <property fmtid="{D5CDD505-2E9C-101B-9397-08002B2CF9AE}" pid="3" name="MSIP_Label_36791f77-3d39-4d72-9277-ac879ec799ed_SetDate">
    <vt:lpwstr>2025-10-23T13:51:33Z</vt:lpwstr>
  </property>
  <property fmtid="{D5CDD505-2E9C-101B-9397-08002B2CF9AE}" pid="4" name="MSIP_Label_36791f77-3d39-4d72-9277-ac879ec799ed_Method">
    <vt:lpwstr>Standard</vt:lpwstr>
  </property>
  <property fmtid="{D5CDD505-2E9C-101B-9397-08002B2CF9AE}" pid="5" name="MSIP_Label_36791f77-3d39-4d72-9277-ac879ec799ed_Name">
    <vt:lpwstr>restricted-default</vt:lpwstr>
  </property>
  <property fmtid="{D5CDD505-2E9C-101B-9397-08002B2CF9AE}" pid="6" name="MSIP_Label_36791f77-3d39-4d72-9277-ac879ec799ed_SiteId">
    <vt:lpwstr>254ba93e-1f6f-48f3-90e6-e2766664b477</vt:lpwstr>
  </property>
  <property fmtid="{D5CDD505-2E9C-101B-9397-08002B2CF9AE}" pid="7" name="MSIP_Label_36791f77-3d39-4d72-9277-ac879ec799ed_ActionId">
    <vt:lpwstr>0264a5f2-171c-49ce-9270-83908ab7f1a5</vt:lpwstr>
  </property>
  <property fmtid="{D5CDD505-2E9C-101B-9397-08002B2CF9AE}" pid="8" name="MSIP_Label_36791f77-3d39-4d72-9277-ac879ec799ed_ContentBits">
    <vt:lpwstr>0</vt:lpwstr>
  </property>
  <property fmtid="{D5CDD505-2E9C-101B-9397-08002B2CF9AE}" pid="9" name="MSIP_Label_36791f77-3d39-4d72-9277-ac879ec799ed_Tag">
    <vt:lpwstr>10, 3, 0, 1</vt:lpwstr>
  </property>
</Properties>
</file>